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93" r:id="rId4"/>
    <p:sldMasterId id="2147484020" r:id="rId5"/>
  </p:sldMasterIdLst>
  <p:notesMasterIdLst>
    <p:notesMasterId r:id="rId7"/>
  </p:notesMasterIdLst>
  <p:handoutMasterIdLst>
    <p:handoutMasterId r:id="rId8"/>
  </p:handoutMasterIdLst>
  <p:sldIdLst>
    <p:sldId id="944" r:id="rId6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8DFF"/>
    <a:srgbClr val="CDCDFF"/>
    <a:srgbClr val="D5D5FF"/>
    <a:srgbClr val="7F7F7F"/>
    <a:srgbClr val="00008C"/>
    <a:srgbClr val="9898FF"/>
    <a:srgbClr val="3131FF"/>
    <a:srgbClr val="0033A0"/>
    <a:srgbClr val="3C1053"/>
    <a:srgbClr val="2C6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2200CB-C444-4746-A047-4668A0B0FEC0}" v="1" dt="2022-03-04T06:38:09.1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97" autoAdjust="0"/>
    <p:restoredTop sz="94343" autoAdjust="0"/>
  </p:normalViewPr>
  <p:slideViewPr>
    <p:cSldViewPr>
      <p:cViewPr varScale="1">
        <p:scale>
          <a:sx n="88" d="100"/>
          <a:sy n="88" d="100"/>
        </p:scale>
        <p:origin x="916" y="64"/>
      </p:cViewPr>
      <p:guideLst>
        <p:guide orient="horz" pos="1620"/>
        <p:guide pos="2880"/>
        <p:guide orient="horz" pos="46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24" d="100"/>
          <a:sy n="124" d="100"/>
        </p:scale>
        <p:origin x="4424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arma, Jayesh (Cognizant)" userId="ef1391cc-2394-4513-a65a-7ad5c7f81070" providerId="ADAL" clId="{452200CB-C444-4746-A047-4668A0B0FEC0}"/>
    <pc:docChg chg="custSel modSld">
      <pc:chgData name="Sharma, Jayesh (Cognizant)" userId="ef1391cc-2394-4513-a65a-7ad5c7f81070" providerId="ADAL" clId="{452200CB-C444-4746-A047-4668A0B0FEC0}" dt="2022-03-04T06:38:27.601" v="54" actId="14100"/>
      <pc:docMkLst>
        <pc:docMk/>
      </pc:docMkLst>
      <pc:sldChg chg="delSp modSp mod">
        <pc:chgData name="Sharma, Jayesh (Cognizant)" userId="ef1391cc-2394-4513-a65a-7ad5c7f81070" providerId="ADAL" clId="{452200CB-C444-4746-A047-4668A0B0FEC0}" dt="2022-03-04T06:38:27.601" v="54" actId="14100"/>
        <pc:sldMkLst>
          <pc:docMk/>
          <pc:sldMk cId="3813438646" sldId="944"/>
        </pc:sldMkLst>
        <pc:spChg chg="del">
          <ac:chgData name="Sharma, Jayesh (Cognizant)" userId="ef1391cc-2394-4513-a65a-7ad5c7f81070" providerId="ADAL" clId="{452200CB-C444-4746-A047-4668A0B0FEC0}" dt="2022-03-04T06:38:11.039" v="51" actId="478"/>
          <ac:spMkLst>
            <pc:docMk/>
            <pc:sldMk cId="3813438646" sldId="944"/>
            <ac:spMk id="6" creationId="{00000000-0000-0000-0000-000000000000}"/>
          </ac:spMkLst>
        </pc:spChg>
        <pc:spChg chg="mod">
          <ac:chgData name="Sharma, Jayesh (Cognizant)" userId="ef1391cc-2394-4513-a65a-7ad5c7f81070" providerId="ADAL" clId="{452200CB-C444-4746-A047-4668A0B0FEC0}" dt="2022-03-04T06:38:27.601" v="54" actId="14100"/>
          <ac:spMkLst>
            <pc:docMk/>
            <pc:sldMk cId="3813438646" sldId="944"/>
            <ac:spMk id="7" creationId="{00000000-0000-0000-0000-000000000000}"/>
          </ac:spMkLst>
        </pc:spChg>
        <pc:spChg chg="mod">
          <ac:chgData name="Sharma, Jayesh (Cognizant)" userId="ef1391cc-2394-4513-a65a-7ad5c7f81070" providerId="ADAL" clId="{452200CB-C444-4746-A047-4668A0B0FEC0}" dt="2022-03-04T06:37:33.345" v="47" actId="20577"/>
          <ac:spMkLst>
            <pc:docMk/>
            <pc:sldMk cId="3813438646" sldId="944"/>
            <ac:spMk id="10" creationId="{00000000-0000-0000-0000-000000000000}"/>
          </ac:spMkLst>
        </pc:spChg>
        <pc:spChg chg="mod">
          <ac:chgData name="Sharma, Jayesh (Cognizant)" userId="ef1391cc-2394-4513-a65a-7ad5c7f81070" providerId="ADAL" clId="{452200CB-C444-4746-A047-4668A0B0FEC0}" dt="2022-03-04T06:35:50.335" v="18" actId="20577"/>
          <ac:spMkLst>
            <pc:docMk/>
            <pc:sldMk cId="3813438646" sldId="944"/>
            <ac:spMk id="11" creationId="{00000000-0000-0000-0000-000000000000}"/>
          </ac:spMkLst>
        </pc:spChg>
        <pc:spChg chg="del mod">
          <ac:chgData name="Sharma, Jayesh (Cognizant)" userId="ef1391cc-2394-4513-a65a-7ad5c7f81070" providerId="ADAL" clId="{452200CB-C444-4746-A047-4668A0B0FEC0}" dt="2022-03-04T06:38:09.134" v="50" actId="478"/>
          <ac:spMkLst>
            <pc:docMk/>
            <pc:sldMk cId="3813438646" sldId="944"/>
            <ac:spMk id="12" creationId="{00000000-0000-0000-0000-000000000000}"/>
          </ac:spMkLst>
        </pc:spChg>
        <pc:spChg chg="del">
          <ac:chgData name="Sharma, Jayesh (Cognizant)" userId="ef1391cc-2394-4513-a65a-7ad5c7f81070" providerId="ADAL" clId="{452200CB-C444-4746-A047-4668A0B0FEC0}" dt="2022-03-04T06:38:06.012" v="49" actId="478"/>
          <ac:spMkLst>
            <pc:docMk/>
            <pc:sldMk cId="3813438646" sldId="944"/>
            <ac:spMk id="15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5504ED-601C-9F41-A2BB-A84CD9D575D8}" type="datetimeFigureOut">
              <a:rPr lang="en-US" smtClean="0"/>
              <a:t>3/4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185347-B0FD-EF4B-941B-A92CF753AB4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16834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499A69-9E3B-7C4C-9E3F-523F007A72CB}" type="datetimeFigureOut">
              <a:rPr lang="en-US" smtClean="0"/>
              <a:t>3/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2D6E04-3A2F-4B48-A297-666578EDF1B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991402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Graphic Double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animal&#10;&#10;Description automatically generated">
            <a:extLst>
              <a:ext uri="{FF2B5EF4-FFF2-40B4-BE49-F238E27FC236}">
                <a16:creationId xmlns:a16="http://schemas.microsoft.com/office/drawing/2014/main" id="{760CAE04-42F6-C14D-AB3C-36D5B9FC9F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96"/>
            <a:ext cx="9144000" cy="5146293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C96E9237-80A4-8D4D-AF8F-78866C6D2C0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59000">
                <a:schemeClr val="accent1">
                  <a:alpha val="96000"/>
                </a:schemeClr>
              </a:gs>
              <a:gs pos="25000">
                <a:schemeClr val="accent3">
                  <a:alpha val="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E72939B-E866-3F48-956F-028BC0570F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119" y="382876"/>
            <a:ext cx="2624563" cy="55841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2C1B911-F437-1644-81AF-E4F0D63347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14163" y="1561267"/>
            <a:ext cx="8348837" cy="1107996"/>
          </a:xfrm>
        </p:spPr>
        <p:txBody>
          <a:bodyPr wrap="square" anchor="ctr" anchorCtr="0">
            <a:spAutoFit/>
          </a:bodyPr>
          <a:lstStyle>
            <a:lvl1pPr algn="l"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ouble Line Title Here</a:t>
            </a:r>
            <a:br>
              <a:rPr lang="en-US" dirty="0"/>
            </a:br>
            <a:r>
              <a:rPr lang="en-US" dirty="0"/>
              <a:t>Double Line Title Her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779121-E465-634B-B2F7-19C558723B11}"/>
              </a:ext>
            </a:extLst>
          </p:cNvPr>
          <p:cNvCxnSpPr>
            <a:cxnSpLocks/>
          </p:cNvCxnSpPr>
          <p:nvPr userDrawn="1"/>
        </p:nvCxnSpPr>
        <p:spPr bwMode="white">
          <a:xfrm flipH="1">
            <a:off x="392897" y="3365738"/>
            <a:ext cx="2169460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6882BFA-92D1-754C-8A6B-468712FCC8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163" y="2730312"/>
            <a:ext cx="8327698" cy="406477"/>
          </a:xfrm>
        </p:spPr>
        <p:txBody>
          <a:bodyPr anchor="ctr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</a:defRPr>
            </a:lvl2pPr>
            <a:lvl3pPr marL="228600" indent="0">
              <a:buNone/>
              <a:defRPr/>
            </a:lvl3pPr>
          </a:lstStyle>
          <a:p>
            <a:pPr lvl="0"/>
            <a:r>
              <a:rPr lang="en-US" dirty="0"/>
              <a:t>Speaker’s Full Name or Subtitle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E25F6749-10D1-E840-B58E-0BD71C6C4B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163" y="3485244"/>
            <a:ext cx="8324523" cy="2540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peaker title and/or date</a:t>
            </a:r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9E90ED61-02F0-014B-ABEE-2397CF3B96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0" y="4695411"/>
            <a:ext cx="4572000" cy="18724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750"/>
            </a:lvl2pPr>
            <a:lvl3pPr marL="0" indent="0">
              <a:defRPr sz="750"/>
            </a:lvl3pPr>
            <a:lvl4pPr marL="0" indent="0">
              <a:defRPr sz="750"/>
            </a:lvl4pPr>
            <a:lvl5pPr marL="0" indent="0">
              <a:defRPr sz="750"/>
            </a:lvl5pPr>
            <a:lvl6pPr marL="0" indent="0">
              <a:defRPr sz="750"/>
            </a:lvl6pPr>
            <a:lvl7pPr marL="0" indent="0">
              <a:defRPr sz="750"/>
            </a:lvl7pPr>
            <a:lvl8pPr marL="0" indent="0">
              <a:defRPr sz="750"/>
            </a:lvl8pPr>
            <a:lvl9pPr marL="0" indent="0">
              <a:defRPr sz="750"/>
            </a:lvl9pPr>
          </a:lstStyle>
          <a:p>
            <a:r>
              <a:rPr lang="en-US"/>
              <a:t>© 2020 Cognizant</a:t>
            </a:r>
            <a:endParaRPr lang="en-US" dirty="0"/>
          </a:p>
        </p:txBody>
      </p:sp>
      <p:pic>
        <p:nvPicPr>
          <p:cNvPr id="17" name="Picture 2" descr="BNY Mellon Logo PNG Transparent - PngPix"/>
          <p:cNvPicPr>
            <a:picLocks noChangeAspect="1" noChangeArrowheads="1"/>
          </p:cNvPicPr>
          <p:nvPr userDrawn="1"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800" y="333556"/>
            <a:ext cx="3363200" cy="714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24840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274320"/>
            <a:ext cx="8385048" cy="79552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4048" y="1261872"/>
            <a:ext cx="4114800" cy="331927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A163B-9823-4AA6-93E0-8B7386BC31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54295" y="1261872"/>
            <a:ext cx="4114800" cy="331927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iri"/>
              </a:defRPr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iri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379926" y="4690872"/>
            <a:ext cx="83841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7485913" y="4780026"/>
            <a:ext cx="1278163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566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6E17DD-19FC-4C3A-8168-1354DEB9B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048" y="1261872"/>
            <a:ext cx="8385048" cy="331927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1D511AA-6A21-4D17-A7EA-84E88C35C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iri"/>
              </a:defRPr>
            </a:lvl1pPr>
          </a:lstStyle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latin typeface="Calibiri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379926" y="4690872"/>
            <a:ext cx="83841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7485913" y="4780026"/>
            <a:ext cx="1278163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470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157682"/>
            <a:ext cx="8385048" cy="42587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1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0D7502-C6C7-49CE-8A81-C3BD1B453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4518" y="1047861"/>
            <a:ext cx="7835824" cy="331927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86400" y="4800600"/>
            <a:ext cx="914400" cy="155448"/>
          </a:xfrm>
          <a:prstGeom prst="rect">
            <a:avLst/>
          </a:prstGeom>
        </p:spPr>
        <p:txBody>
          <a:bodyPr/>
          <a:lstStyle>
            <a:lvl1pPr>
              <a:defRPr sz="750">
                <a:latin typeface="Calibiri"/>
              </a:defRPr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0080" y="4800600"/>
            <a:ext cx="4572000" cy="155448"/>
          </a:xfrm>
          <a:prstGeom prst="rect">
            <a:avLst/>
          </a:prstGeom>
        </p:spPr>
        <p:txBody>
          <a:bodyPr/>
          <a:lstStyle>
            <a:lvl1pPr>
              <a:defRPr sz="750">
                <a:latin typeface="Calibiri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4267" y="4764530"/>
            <a:ext cx="368163" cy="227591"/>
          </a:xfrm>
          <a:prstGeom prst="rect">
            <a:avLst/>
          </a:prstGeom>
        </p:spPr>
        <p:txBody>
          <a:bodyPr/>
          <a:lstStyle>
            <a:lvl1pPr>
              <a:defRPr sz="750"/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379926" y="4690872"/>
            <a:ext cx="83841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7485913" y="4780026"/>
            <a:ext cx="1278163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5721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&amp; 2-column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274320"/>
            <a:ext cx="8385048" cy="795528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C60974-838A-40CC-8A5B-B6116CA4D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C70E20-6501-4F77-9CBC-3806310ED989}"/>
              </a:ext>
            </a:extLst>
          </p:cNvPr>
          <p:cNvCxnSpPr>
            <a:cxnSpLocks/>
          </p:cNvCxnSpPr>
          <p:nvPr userDrawn="1"/>
        </p:nvCxnSpPr>
        <p:spPr>
          <a:xfrm>
            <a:off x="379926" y="4690872"/>
            <a:ext cx="83841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A0DA6-E3B0-4903-A9B6-BBC566D4D7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7485913" y="4780026"/>
            <a:ext cx="1278163" cy="274320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5E2370C-3F6B-42C0-8834-DB3406097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0080" y="4800600"/>
            <a:ext cx="4572000" cy="155448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8AC5B230-74A0-418F-BBA9-0B141D8CA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4048" y="4800600"/>
            <a:ext cx="228600" cy="155448"/>
          </a:xfrm>
        </p:spPr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2843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"/>
            <a:ext cx="8385048" cy="403775"/>
          </a:xfrm>
        </p:spPr>
        <p:txBody>
          <a:bodyPr>
            <a:normAutofit/>
          </a:bodyPr>
          <a:lstStyle>
            <a:lvl1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379927" y="4690872"/>
            <a:ext cx="83841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7485914" y="4780026"/>
            <a:ext cx="1278163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807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274321"/>
            <a:ext cx="8385048" cy="36267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7C4CB0-E1A6-4DBC-8C27-B432BF95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BC111-2740-46AF-A4EE-25875C41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379926" y="4690872"/>
            <a:ext cx="83841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8D86F33D-B3A6-4729-A0FB-5DC8F3DD4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7485913" y="4780026"/>
            <a:ext cx="1278163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7448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dvanc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81C643-B400-4457-BA76-DC5CEB304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23827" cy="5143500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0472" y="1225296"/>
            <a:ext cx="6720840" cy="1719072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  <a:lvl2pPr marL="231770" indent="-231770">
              <a:buNone/>
              <a:defRPr sz="4400">
                <a:solidFill>
                  <a:schemeClr val="tx1"/>
                </a:solidFill>
              </a:defRPr>
            </a:lvl2pPr>
            <a:lvl3pPr marL="228594" indent="-228594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6pPr>
            <a:lvl7pPr marL="0" indent="0">
              <a:buClrTx/>
              <a:buNone/>
              <a:defRPr sz="1200" i="1">
                <a:solidFill>
                  <a:schemeClr val="tx1"/>
                </a:solidFill>
              </a:defRPr>
            </a:lvl7pPr>
            <a:lvl8pPr marL="0" indent="0">
              <a:buClrTx/>
              <a:buNone/>
              <a:defRPr sz="12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5486400" y="4800600"/>
            <a:ext cx="914400" cy="15544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490471" y="4800600"/>
            <a:ext cx="4572000" cy="15544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white">
          <a:xfrm>
            <a:off x="310896" y="4800600"/>
            <a:ext cx="228600" cy="1554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1490471" y="1097280"/>
            <a:ext cx="672084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20ADF0C-4BBB-45C4-865D-6FA4EAC379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7485913" y="4780026"/>
            <a:ext cx="1278163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8895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ight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5DC66A-BAB7-4355-9ED4-0CA743C61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>
              <a:solidFill>
                <a:srgbClr val="0033A0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E53A72-E1D6-4692-98EC-6243614B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>
              <a:solidFill>
                <a:srgbClr val="0033A0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>
                <a:solidFill>
                  <a:srgbClr val="00B140"/>
                </a:solidFill>
              </a:rPr>
              <a:pPr/>
              <a:t>‹#›</a:t>
            </a:fld>
            <a:endParaRPr lang="en-US" dirty="0">
              <a:solidFill>
                <a:srgbClr val="00B140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379926" y="4690872"/>
            <a:ext cx="83841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5CE040-C0D3-40BD-8063-A2DF101E8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7485912" y="4780026"/>
            <a:ext cx="1278164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4110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FA118-26D6-4737-8A2E-1ED7FA72F26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1302" y="34876"/>
            <a:ext cx="8458638" cy="455444"/>
          </a:xfrm>
        </p:spPr>
        <p:txBody>
          <a:bodyPr/>
          <a:lstStyle/>
          <a:p>
            <a:r>
              <a:rPr lang="en-US" dirty="0"/>
              <a:t>Head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262764" y="435188"/>
            <a:ext cx="8509313" cy="0"/>
          </a:xfrm>
          <a:prstGeom prst="line">
            <a:avLst/>
          </a:prstGeom>
          <a:ln w="6350" cmpd="sng">
            <a:gradFill flip="none" rotWithShape="1">
              <a:gsLst>
                <a:gs pos="0">
                  <a:srgbClr val="0099FF"/>
                </a:gs>
                <a:gs pos="100000">
                  <a:srgbClr val="008000"/>
                </a:gs>
              </a:gsLst>
              <a:lin ang="0" scaled="1"/>
              <a:tileRect/>
            </a:gradFill>
            <a:beve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27261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&amp;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AE91A-A46E-4B41-88C6-F4AF075C9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68840"/>
            <a:ext cx="8385048" cy="496239"/>
          </a:xfrm>
        </p:spPr>
        <p:txBody>
          <a:bodyPr>
            <a:normAutofit/>
          </a:bodyPr>
          <a:lstStyle>
            <a:lvl1pPr>
              <a:defRPr sz="200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AE45-F8BC-40F3-9164-D36C18C3F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0080" y="4872518"/>
            <a:ext cx="4572000" cy="155448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1A41C7-0BA2-435B-A8CC-4AA343893F35}"/>
              </a:ext>
            </a:extLst>
          </p:cNvPr>
          <p:cNvCxnSpPr>
            <a:cxnSpLocks/>
          </p:cNvCxnSpPr>
          <p:nvPr userDrawn="1"/>
        </p:nvCxnSpPr>
        <p:spPr>
          <a:xfrm>
            <a:off x="0" y="0"/>
            <a:ext cx="9144000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542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20 Cogniza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8030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181854"/>
            <a:ext cx="8385048" cy="7955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4048" y="4815260"/>
            <a:ext cx="228600" cy="155448"/>
          </a:xfrm>
        </p:spPr>
        <p:txBody>
          <a:bodyPr anchor="ctr" anchorCtr="0"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1815" y="0"/>
            <a:ext cx="9144000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7844000" y="4762888"/>
            <a:ext cx="1212352" cy="260195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616441" y="4817212"/>
            <a:ext cx="0" cy="1515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58824" y="4792981"/>
            <a:ext cx="981456" cy="159512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2734044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181854"/>
            <a:ext cx="8385048" cy="7955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4048" y="4815260"/>
            <a:ext cx="228600" cy="155448"/>
          </a:xfrm>
        </p:spPr>
        <p:txBody>
          <a:bodyPr anchor="ctr" anchorCtr="0"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1815" y="0"/>
            <a:ext cx="9144000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7844000" y="4762888"/>
            <a:ext cx="1212352" cy="260195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616441" y="4817212"/>
            <a:ext cx="0" cy="1515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58824" y="4792981"/>
            <a:ext cx="981456" cy="159512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667853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AFEE-79A3-4996-B06D-D9A66A9C5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181854"/>
            <a:ext cx="8385048" cy="7955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4048" y="4815260"/>
            <a:ext cx="228600" cy="155448"/>
          </a:xfrm>
        </p:spPr>
        <p:txBody>
          <a:bodyPr anchor="ctr" anchorCtr="0"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1815" y="0"/>
            <a:ext cx="9144000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7844000" y="4762888"/>
            <a:ext cx="1212352" cy="260195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616441" y="4817212"/>
            <a:ext cx="0" cy="1515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3B1582F7-096C-4E61-A430-37DE800FD8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58824" y="4792981"/>
            <a:ext cx="981456" cy="159512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r>
              <a:rPr lang="en-US" dirty="0"/>
              <a:t>© 2019 Cognizant</a:t>
            </a:r>
          </a:p>
        </p:txBody>
      </p:sp>
    </p:spTree>
    <p:extLst>
      <p:ext uri="{BB962C8B-B14F-4D97-AF65-F5344CB8AC3E}">
        <p14:creationId xmlns:p14="http://schemas.microsoft.com/office/powerpoint/2010/main" val="41870772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arallelogram 38"/>
          <p:cNvSpPr/>
          <p:nvPr userDrawn="1"/>
        </p:nvSpPr>
        <p:spPr>
          <a:xfrm>
            <a:off x="751113" y="4720183"/>
            <a:ext cx="4769313" cy="352560"/>
          </a:xfrm>
          <a:prstGeom prst="parallelogram">
            <a:avLst>
              <a:gd name="adj" fmla="val 9948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/>
          </a:p>
        </p:txBody>
      </p:sp>
      <p:sp>
        <p:nvSpPr>
          <p:cNvPr id="40" name="Parallelogram 39"/>
          <p:cNvSpPr/>
          <p:nvPr userDrawn="1"/>
        </p:nvSpPr>
        <p:spPr>
          <a:xfrm>
            <a:off x="10416" y="4720183"/>
            <a:ext cx="502920" cy="423317"/>
          </a:xfrm>
          <a:prstGeom prst="parallelogram">
            <a:avLst>
              <a:gd name="adj" fmla="val 99481"/>
            </a:avLst>
          </a:prstGeom>
          <a:solidFill>
            <a:srgbClr val="026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/>
          </a:p>
        </p:txBody>
      </p:sp>
      <p:sp>
        <p:nvSpPr>
          <p:cNvPr id="25" name="Freeform 24"/>
          <p:cNvSpPr/>
          <p:nvPr userDrawn="1"/>
        </p:nvSpPr>
        <p:spPr>
          <a:xfrm>
            <a:off x="1" y="0"/>
            <a:ext cx="8700686" cy="411480"/>
          </a:xfrm>
          <a:custGeom>
            <a:avLst/>
            <a:gdLst>
              <a:gd name="connsiteX0" fmla="*/ 0 w 11600915"/>
              <a:gd name="connsiteY0" fmla="*/ 0 h 699148"/>
              <a:gd name="connsiteX1" fmla="*/ 1055825 w 11600915"/>
              <a:gd name="connsiteY1" fmla="*/ 0 h 699148"/>
              <a:gd name="connsiteX2" fmla="*/ 11227878 w 11600915"/>
              <a:gd name="connsiteY2" fmla="*/ 0 h 699148"/>
              <a:gd name="connsiteX3" fmla="*/ 11600915 w 11600915"/>
              <a:gd name="connsiteY3" fmla="*/ 0 h 699148"/>
              <a:gd name="connsiteX4" fmla="*/ 11227878 w 11600915"/>
              <a:gd name="connsiteY4" fmla="*/ 381975 h 699148"/>
              <a:gd name="connsiteX5" fmla="*/ 11227878 w 11600915"/>
              <a:gd name="connsiteY5" fmla="*/ 699148 h 699148"/>
              <a:gd name="connsiteX6" fmla="*/ 10918127 w 11600915"/>
              <a:gd name="connsiteY6" fmla="*/ 699148 h 699148"/>
              <a:gd name="connsiteX7" fmla="*/ 373037 w 11600915"/>
              <a:gd name="connsiteY7" fmla="*/ 699148 h 699148"/>
              <a:gd name="connsiteX8" fmla="*/ 0 w 11600915"/>
              <a:gd name="connsiteY8" fmla="*/ 699148 h 699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00915" h="699148">
                <a:moveTo>
                  <a:pt x="0" y="0"/>
                </a:moveTo>
                <a:lnTo>
                  <a:pt x="1055825" y="0"/>
                </a:lnTo>
                <a:lnTo>
                  <a:pt x="11227878" y="0"/>
                </a:lnTo>
                <a:lnTo>
                  <a:pt x="11600915" y="0"/>
                </a:lnTo>
                <a:lnTo>
                  <a:pt x="11227878" y="381975"/>
                </a:lnTo>
                <a:lnTo>
                  <a:pt x="11227878" y="699148"/>
                </a:lnTo>
                <a:lnTo>
                  <a:pt x="10918127" y="699148"/>
                </a:lnTo>
                <a:lnTo>
                  <a:pt x="373037" y="699148"/>
                </a:lnTo>
                <a:lnTo>
                  <a:pt x="0" y="699148"/>
                </a:lnTo>
                <a:close/>
              </a:path>
            </a:pathLst>
          </a:custGeom>
          <a:solidFill>
            <a:srgbClr val="006B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1" name="Parallelogram 20"/>
          <p:cNvSpPr/>
          <p:nvPr userDrawn="1"/>
        </p:nvSpPr>
        <p:spPr>
          <a:xfrm>
            <a:off x="8576475" y="0"/>
            <a:ext cx="567525" cy="342900"/>
          </a:xfrm>
          <a:prstGeom prst="parallelogram">
            <a:avLst>
              <a:gd name="adj" fmla="val 99481"/>
            </a:avLst>
          </a:prstGeom>
          <a:solidFill>
            <a:srgbClr val="1FA8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3" name="Parallelogram 22"/>
          <p:cNvSpPr/>
          <p:nvPr userDrawn="1"/>
        </p:nvSpPr>
        <p:spPr>
          <a:xfrm>
            <a:off x="8168889" y="0"/>
            <a:ext cx="819545" cy="411480"/>
          </a:xfrm>
          <a:prstGeom prst="parallelogram">
            <a:avLst>
              <a:gd name="adj" fmla="val 99481"/>
            </a:avLst>
          </a:prstGeom>
          <a:solidFill>
            <a:srgbClr val="231F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466" y="-40187"/>
            <a:ext cx="7982478" cy="48228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234949" y="4720181"/>
            <a:ext cx="772574" cy="328680"/>
          </a:xfrm>
          <a:prstGeom prst="parallelogram">
            <a:avLst>
              <a:gd name="adj" fmla="val 100889"/>
            </a:avLst>
          </a:prstGeom>
          <a:solidFill>
            <a:srgbClr val="231F1E"/>
          </a:solidFill>
          <a:ln>
            <a:noFill/>
          </a:ln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CB53D8-4DF9-41DF-9499-7D2F7209948D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9848" y="4672976"/>
            <a:ext cx="1885387" cy="211676"/>
          </a:xfrm>
          <a:prstGeom prst="rect">
            <a:avLst/>
          </a:prstGeom>
        </p:spPr>
      </p:pic>
      <p:pic>
        <p:nvPicPr>
          <p:cNvPr id="15" name="Picture 2" descr="D:\backup\2014\July\03.07.2014\LOG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878" y="4672976"/>
            <a:ext cx="851745" cy="258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5" descr="D:\backup\2013\Oct\31.10.2013\Partnership-icon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689" y="4656979"/>
            <a:ext cx="338310" cy="338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5655485" y="4905559"/>
            <a:ext cx="352051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50" spc="150" baseline="0" dirty="0">
                <a:solidFill>
                  <a:srgbClr val="006BA6"/>
                </a:solidFill>
                <a:latin typeface="Calibri" panose="020F0502020204030204" pitchFamily="34" charset="0"/>
                <a:cs typeface="Aharoni" panose="02010803020104030203" pitchFamily="2" charset="-79"/>
              </a:rPr>
              <a:t>PARTNER | INNOVATE | TRANSFORM | TO KEEP IT HEALTHY</a:t>
            </a:r>
          </a:p>
        </p:txBody>
      </p:sp>
      <p:sp>
        <p:nvSpPr>
          <p:cNvPr id="13" name="Rectangle 33"/>
          <p:cNvSpPr>
            <a:spLocks noChangeArrowheads="1"/>
          </p:cNvSpPr>
          <p:nvPr userDrawn="1"/>
        </p:nvSpPr>
        <p:spPr bwMode="auto">
          <a:xfrm>
            <a:off x="1587426" y="4846908"/>
            <a:ext cx="2875854" cy="169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prstClr val="black"/>
                </a:solidFill>
                <a:latin typeface="Calibri" panose="020F0502020204030204" pitchFamily="34" charset="0"/>
                <a:ea typeface="Arial Bold" pitchFamily="-112" charset="0"/>
                <a:cs typeface="Calibri" panose="020F0502020204030204" pitchFamily="34" charset="0"/>
              </a:rPr>
              <a:t>© 2018, Cognizant Technology Solution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65256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408218" y="388144"/>
            <a:ext cx="8363857" cy="0"/>
          </a:xfrm>
          <a:prstGeom prst="line">
            <a:avLst/>
          </a:prstGeom>
          <a:ln w="6350" cmpd="sng">
            <a:gradFill flip="none" rotWithShape="1">
              <a:gsLst>
                <a:gs pos="0">
                  <a:srgbClr val="0099FF"/>
                </a:gs>
                <a:gs pos="100000">
                  <a:srgbClr val="008000"/>
                </a:gs>
              </a:gsLst>
              <a:lin ang="0" scaled="1"/>
              <a:tileRect/>
            </a:gradFill>
            <a:beve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32"/>
          <p:cNvSpPr>
            <a:spLocks noGrp="1"/>
          </p:cNvSpPr>
          <p:nvPr>
            <p:ph type="title"/>
          </p:nvPr>
        </p:nvSpPr>
        <p:spPr>
          <a:xfrm>
            <a:off x="380784" y="19052"/>
            <a:ext cx="8382437" cy="3887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76200" y="4781553"/>
            <a:ext cx="548640" cy="3262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050" b="1" kern="1200" smtClean="0">
                <a:solidFill>
                  <a:schemeClr val="bg1"/>
                </a:solidFill>
                <a:latin typeface="+mn-lt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defTabSz="457189">
              <a:defRPr/>
            </a:pPr>
            <a:fld id="{4247E4F7-FAE5-48FB-B259-BD35FEBE6D1E}" type="slidenum">
              <a:rPr lang="en-US" sz="1050">
                <a:solidFill>
                  <a:prstClr val="white"/>
                </a:solidFill>
                <a:cs typeface="Arial" panose="020B0604020202020204" pitchFamily="34" charset="0"/>
              </a:rPr>
              <a:pPr defTabSz="457189">
                <a:defRPr/>
              </a:pPr>
              <a:t>‹#›</a:t>
            </a:fld>
            <a:endParaRPr lang="en-US" sz="105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86242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408218" y="388144"/>
            <a:ext cx="8363857" cy="0"/>
          </a:xfrm>
          <a:prstGeom prst="line">
            <a:avLst/>
          </a:prstGeom>
          <a:ln w="6350" cmpd="sng">
            <a:gradFill flip="none" rotWithShape="1">
              <a:gsLst>
                <a:gs pos="0">
                  <a:srgbClr val="0099FF"/>
                </a:gs>
                <a:gs pos="100000">
                  <a:srgbClr val="008000"/>
                </a:gs>
              </a:gsLst>
              <a:lin ang="0" scaled="1"/>
              <a:tileRect/>
            </a:gradFill>
            <a:beve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32"/>
          <p:cNvSpPr>
            <a:spLocks noGrp="1"/>
          </p:cNvSpPr>
          <p:nvPr>
            <p:ph type="title"/>
          </p:nvPr>
        </p:nvSpPr>
        <p:spPr>
          <a:xfrm>
            <a:off x="380784" y="19052"/>
            <a:ext cx="8382437" cy="3887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76200" y="4781553"/>
            <a:ext cx="548640" cy="3262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050" b="1" kern="1200" smtClean="0">
                <a:solidFill>
                  <a:schemeClr val="bg1"/>
                </a:solidFill>
                <a:latin typeface="+mn-lt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defTabSz="457189">
              <a:defRPr/>
            </a:pPr>
            <a:fld id="{4247E4F7-FAE5-48FB-B259-BD35FEBE6D1E}" type="slidenum">
              <a:rPr lang="en-US" sz="1050">
                <a:solidFill>
                  <a:prstClr val="white"/>
                </a:solidFill>
                <a:cs typeface="Arial" panose="020B0604020202020204" pitchFamily="34" charset="0"/>
              </a:rPr>
              <a:pPr defTabSz="457189">
                <a:defRPr/>
              </a:pPr>
              <a:t>‹#›</a:t>
            </a:fld>
            <a:endParaRPr lang="en-US" sz="105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38100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2AB80A-78BA-6B42-BA0D-B44ACF890F5A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365" y="247699"/>
            <a:ext cx="8464987" cy="455444"/>
          </a:xfrm>
        </p:spPr>
        <p:txBody>
          <a:bodyPr/>
          <a:lstStyle>
            <a:lvl1pPr>
              <a:defRPr sz="1750">
                <a:solidFill>
                  <a:srgbClr val="0099CC"/>
                </a:solidFill>
              </a:defRPr>
            </a:lvl1pPr>
          </a:lstStyle>
          <a:p>
            <a:r>
              <a:rPr lang="en-US" dirty="0"/>
              <a:t>Header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08219" y="238125"/>
            <a:ext cx="8363857" cy="0"/>
          </a:xfrm>
          <a:prstGeom prst="line">
            <a:avLst/>
          </a:prstGeom>
          <a:ln w="6350" cmpd="sng">
            <a:gradFill flip="none" rotWithShape="1">
              <a:gsLst>
                <a:gs pos="0">
                  <a:srgbClr val="0099FF"/>
                </a:gs>
                <a:gs pos="100000">
                  <a:srgbClr val="008000"/>
                </a:gs>
              </a:gsLst>
              <a:lin ang="0" scaled="1"/>
              <a:tileRect/>
            </a:gradFill>
            <a:beve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56708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er &amp;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DECEAA4-0F33-4B6D-A269-0A7754EC7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2EFEF571-C9B4-4D92-A7F7-315B894862A8}" type="slidenum">
              <a:rPr lang="en-US" smtClean="0">
                <a:solidFill>
                  <a:srgbClr val="00B140"/>
                </a:solidFill>
              </a:rPr>
              <a:pPr/>
              <a:t>‹#›</a:t>
            </a:fld>
            <a:endParaRPr lang="en-US" dirty="0">
              <a:solidFill>
                <a:srgbClr val="00B140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B07E44-2946-4C76-AAE8-51C4712E237F}"/>
              </a:ext>
            </a:extLst>
          </p:cNvPr>
          <p:cNvCxnSpPr>
            <a:cxnSpLocks/>
          </p:cNvCxnSpPr>
          <p:nvPr userDrawn="1"/>
        </p:nvCxnSpPr>
        <p:spPr>
          <a:xfrm>
            <a:off x="379926" y="4690872"/>
            <a:ext cx="83841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7485913" y="4780026"/>
            <a:ext cx="1278163" cy="274320"/>
          </a:xfrm>
          <a:prstGeom prst="rect">
            <a:avLst/>
          </a:prstGeom>
        </p:spPr>
      </p:pic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98877" y="59219"/>
            <a:ext cx="8754134" cy="365760"/>
          </a:xfrm>
          <a:prstGeom prst="rect">
            <a:avLst/>
          </a:prstGeom>
        </p:spPr>
        <p:txBody>
          <a:bodyPr/>
          <a:lstStyle>
            <a:lvl1pPr>
              <a:defRPr sz="21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Scope Definition</a:t>
            </a:r>
          </a:p>
        </p:txBody>
      </p:sp>
    </p:spTree>
    <p:extLst>
      <p:ext uri="{BB962C8B-B14F-4D97-AF65-F5344CB8AC3E}">
        <p14:creationId xmlns:p14="http://schemas.microsoft.com/office/powerpoint/2010/main" val="13010526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_No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01050" y="4854348"/>
            <a:ext cx="62865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1854" y="4744828"/>
            <a:ext cx="1106480" cy="357916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reeform 7"/>
          <p:cNvSpPr/>
          <p:nvPr userDrawn="1"/>
        </p:nvSpPr>
        <p:spPr>
          <a:xfrm rot="5400000">
            <a:off x="1508344" y="-1503581"/>
            <a:ext cx="487942" cy="3499865"/>
          </a:xfrm>
          <a:custGeom>
            <a:avLst/>
            <a:gdLst>
              <a:gd name="connsiteX0" fmla="*/ 650589 w 650589"/>
              <a:gd name="connsiteY0" fmla="*/ 4665272 h 4665272"/>
              <a:gd name="connsiteX1" fmla="*/ 0 w 650589"/>
              <a:gd name="connsiteY1" fmla="*/ 4665272 h 4665272"/>
              <a:gd name="connsiteX2" fmla="*/ 0 w 650589"/>
              <a:gd name="connsiteY2" fmla="*/ 0 h 4665272"/>
              <a:gd name="connsiteX3" fmla="*/ 621771 w 650589"/>
              <a:gd name="connsiteY3" fmla="*/ 4665270 h 4665272"/>
              <a:gd name="connsiteX4" fmla="*/ 650589 w 650589"/>
              <a:gd name="connsiteY4" fmla="*/ 4665270 h 4665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0589" h="4665272">
                <a:moveTo>
                  <a:pt x="650589" y="4665272"/>
                </a:moveTo>
                <a:lnTo>
                  <a:pt x="0" y="4665272"/>
                </a:lnTo>
                <a:lnTo>
                  <a:pt x="0" y="0"/>
                </a:lnTo>
                <a:lnTo>
                  <a:pt x="621771" y="4665270"/>
                </a:lnTo>
                <a:lnTo>
                  <a:pt x="650589" y="466527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3000">
                <a:srgbClr val="147EC2"/>
              </a:gs>
              <a:gs pos="100000">
                <a:srgbClr val="66ACD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/>
          </a:p>
        </p:txBody>
      </p:sp>
      <p:sp>
        <p:nvSpPr>
          <p:cNvPr id="15" name="Freeform 14"/>
          <p:cNvSpPr/>
          <p:nvPr userDrawn="1"/>
        </p:nvSpPr>
        <p:spPr>
          <a:xfrm>
            <a:off x="1477578" y="4121855"/>
            <a:ext cx="7667613" cy="1021646"/>
          </a:xfrm>
          <a:custGeom>
            <a:avLst/>
            <a:gdLst>
              <a:gd name="connsiteX0" fmla="*/ 10220822 w 10220822"/>
              <a:gd name="connsiteY0" fmla="*/ 0 h 1362194"/>
              <a:gd name="connsiteX1" fmla="*/ 10220822 w 10220822"/>
              <a:gd name="connsiteY1" fmla="*/ 1362194 h 1362194"/>
              <a:gd name="connsiteX2" fmla="*/ 0 w 10220822"/>
              <a:gd name="connsiteY2" fmla="*/ 1362194 h 136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220822" h="1362194">
                <a:moveTo>
                  <a:pt x="10220822" y="0"/>
                </a:moveTo>
                <a:lnTo>
                  <a:pt x="10220822" y="1362194"/>
                </a:lnTo>
                <a:lnTo>
                  <a:pt x="0" y="1362194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5570" y="4465341"/>
            <a:ext cx="1192541" cy="377190"/>
          </a:xfrm>
          <a:prstGeom prst="rect">
            <a:avLst/>
          </a:prstGeom>
        </p:spPr>
      </p:pic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8401050" y="4854749"/>
            <a:ext cx="62865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39F3810-4318-4880-9D52-993D34A84442}" type="slidenum">
              <a:rPr lang="en-US" sz="675" smtClean="0"/>
              <a:pPr/>
              <a:t>‹#›</a:t>
            </a:fld>
            <a:endParaRPr lang="en-US" sz="675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5147995" y="4940235"/>
            <a:ext cx="3567380" cy="106359"/>
          </a:xfrm>
        </p:spPr>
        <p:txBody>
          <a:bodyPr lIns="0" rIns="0"/>
          <a:lstStyle>
            <a:lvl1pPr algn="r">
              <a:defRPr sz="675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3453505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White Divi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784" y="1225296"/>
            <a:ext cx="6720840" cy="1719072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  <a:lvl2pPr marL="231770" indent="-231770">
              <a:buNone/>
              <a:defRPr sz="4400">
                <a:solidFill>
                  <a:schemeClr val="tx1"/>
                </a:solidFill>
              </a:defRPr>
            </a:lvl2pPr>
            <a:lvl3pPr marL="228594" indent="-228594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1FEF27-0812-4E22-93E8-02C4F29DA03B}" type="datetimeFigureOut">
              <a:rPr lang="en-US" smtClean="0"/>
              <a:t>3/4/2022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/>
        </p:nvCxnSpPr>
        <p:spPr>
          <a:xfrm>
            <a:off x="557784" y="1097280"/>
            <a:ext cx="672084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7485913" y="4780026"/>
            <a:ext cx="1278163" cy="27432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/>
        </p:nvCxnSpPr>
        <p:spPr>
          <a:xfrm>
            <a:off x="557784" y="1097280"/>
            <a:ext cx="672084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563F996-94D9-4E07-B4CD-3CF1568075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7485913" y="4780026"/>
            <a:ext cx="1278163" cy="27432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64490" y="4775830"/>
            <a:ext cx="1797703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+mn-lt"/>
                <a:cs typeface="Arial"/>
              </a:rPr>
              <a:t>© 2018 Cognizant </a:t>
            </a:r>
          </a:p>
        </p:txBody>
      </p:sp>
    </p:spTree>
    <p:extLst>
      <p:ext uri="{BB962C8B-B14F-4D97-AF65-F5344CB8AC3E}">
        <p14:creationId xmlns:p14="http://schemas.microsoft.com/office/powerpoint/2010/main" val="9657741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580102-CAD4-A748-BD95-3E5812A2A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928" y="-3"/>
            <a:ext cx="9142072" cy="514350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210EB9E-64BF-9644-B205-F00F04A6F5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821799" y="1709543"/>
            <a:ext cx="6731000" cy="1218795"/>
          </a:xfrm>
        </p:spPr>
        <p:txBody>
          <a:bodyPr wrap="square" anchor="t" anchorCtr="0">
            <a:spAutoFit/>
          </a:bodyPr>
          <a:lstStyle>
            <a:lvl1pPr algn="l">
              <a:defRPr sz="4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ivider Title Goes Here</a:t>
            </a:r>
            <a:br>
              <a:rPr lang="en-US" dirty="0"/>
            </a:br>
            <a:r>
              <a:rPr lang="en-US" dirty="0"/>
              <a:t>Divider Title Goes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10DD0DB-372F-554C-AC14-50A4A4866945}"/>
              </a:ext>
            </a:extLst>
          </p:cNvPr>
          <p:cNvCxnSpPr>
            <a:cxnSpLocks/>
          </p:cNvCxnSpPr>
          <p:nvPr userDrawn="1"/>
        </p:nvCxnSpPr>
        <p:spPr>
          <a:xfrm>
            <a:off x="821799" y="1507618"/>
            <a:ext cx="6720840" cy="0"/>
          </a:xfrm>
          <a:prstGeom prst="line">
            <a:avLst/>
          </a:prstGeom>
          <a:ln>
            <a:solidFill>
              <a:srgbClr val="2D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7653336" y="4695411"/>
            <a:ext cx="0" cy="26965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F70F4A04-9F09-BC4C-BCD8-015E0BC087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734300" y="4751509"/>
            <a:ext cx="1029775" cy="221011"/>
          </a:xfrm>
          <a:prstGeom prst="rect">
            <a:avLst/>
          </a:prstGeom>
        </p:spPr>
      </p:pic>
      <p:pic>
        <p:nvPicPr>
          <p:cNvPr id="12" name="Picture 2" descr="BNY Mellon Logo PNG Transparent - PngPix"/>
          <p:cNvPicPr>
            <a:picLocks noChangeAspect="1" noChangeArrowheads="1"/>
          </p:cNvPicPr>
          <p:nvPr userDrawn="1"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133" y="4711932"/>
            <a:ext cx="1246969" cy="26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8442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 + Partn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1E3CF8DA-271C-CB40-9A53-7C2CBDDD59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9237" y="4114800"/>
            <a:ext cx="2509524" cy="908465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002238E-5B2E-B247-94DB-4A3ABA560F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1633" y="2704549"/>
            <a:ext cx="8207508" cy="369332"/>
          </a:xfrm>
        </p:spPr>
        <p:txBody>
          <a:bodyPr wrap="square" anchor="ctr" anchorCtr="0">
            <a:spAutoFit/>
          </a:bodyPr>
          <a:lstStyle>
            <a:lvl1pPr algn="l"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Name and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B3660F06-908D-324A-9D22-12DB921A12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1633" y="3147679"/>
            <a:ext cx="8207508" cy="276999"/>
          </a:xfrm>
        </p:spPr>
        <p:txBody>
          <a:bodyPr wrap="square" anchor="ctr" anchorCtr="0">
            <a:spAutoFit/>
          </a:bodyPr>
          <a:lstStyle>
            <a:lvl1pPr algn="l">
              <a:defRPr sz="18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E5196DC-63C2-DC4C-9AD0-F8EA668BF4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91633" y="1665888"/>
            <a:ext cx="4069701" cy="830997"/>
          </a:xfrm>
        </p:spPr>
        <p:txBody>
          <a:bodyPr wrap="square" anchor="t" anchorCtr="0">
            <a:spAutoFit/>
          </a:bodyPr>
          <a:lstStyle>
            <a:lvl1pPr algn="l">
              <a:defRPr sz="6000" b="0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16FDEC5-70F3-8242-B371-DE69C53DE33E}"/>
              </a:ext>
            </a:extLst>
          </p:cNvPr>
          <p:cNvCxnSpPr>
            <a:cxnSpLocks/>
          </p:cNvCxnSpPr>
          <p:nvPr userDrawn="1"/>
        </p:nvCxnSpPr>
        <p:spPr>
          <a:xfrm>
            <a:off x="391633" y="2543316"/>
            <a:ext cx="6720840" cy="0"/>
          </a:xfrm>
          <a:prstGeom prst="line">
            <a:avLst/>
          </a:prstGeom>
          <a:ln>
            <a:solidFill>
              <a:srgbClr val="2D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BNY Mellon Logo PNG Transparent - PngPix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4324350"/>
            <a:ext cx="2027801" cy="430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2228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Cover Slid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4BA977D-F01B-45A3-A788-241A0D7E09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451989"/>
            <a:ext cx="9144000" cy="69151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61C033-5F13-4DFF-B15B-CE7C811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457200" y="1691546"/>
            <a:ext cx="5029200" cy="1052692"/>
          </a:xfrm>
        </p:spPr>
        <p:txBody>
          <a:bodyPr anchor="b">
            <a:spAutoFit/>
          </a:bodyPr>
          <a:lstStyle>
            <a:lvl1pPr algn="l">
              <a:defRPr sz="3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915D2C-FBBF-4872-8B9B-3345FADF0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57200" y="3118107"/>
            <a:ext cx="5029200" cy="538609"/>
          </a:xfrm>
        </p:spPr>
        <p:txBody>
          <a:bodyPr>
            <a:spAutoFit/>
          </a:bodyPr>
          <a:lstStyle>
            <a:lvl1pPr marL="0" marR="0" indent="0" algn="l" defTabSz="9143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0" indent="0" algn="l">
              <a:buClr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2pPr>
            <a:lvl3pPr marL="228584" indent="-228584" algn="l">
              <a:spcBef>
                <a:spcPts val="600"/>
              </a:spcBef>
              <a:buClrTx/>
              <a:buSzPct val="125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28584" indent="-228584" algn="l">
              <a:spcBef>
                <a:spcPts val="600"/>
              </a:spcBef>
              <a:buClrTx/>
              <a:buSzPct val="125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28584" indent="-228584" algn="l">
              <a:spcBef>
                <a:spcPts val="600"/>
              </a:spcBef>
              <a:buClrTx/>
              <a:buSzPct val="125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228584" indent="-228584" algn="l">
              <a:spcBef>
                <a:spcPts val="600"/>
              </a:spcBef>
              <a:buClrTx/>
              <a:buSzPct val="125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6pPr>
            <a:lvl7pPr marL="228584" indent="-228584" algn="l">
              <a:spcBef>
                <a:spcPts val="600"/>
              </a:spcBef>
              <a:buClrTx/>
              <a:buSzPct val="125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228584" indent="-228584" algn="l">
              <a:spcBef>
                <a:spcPts val="600"/>
              </a:spcBef>
              <a:buClrTx/>
              <a:buSzPct val="125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8pPr>
            <a:lvl9pPr marL="228584" indent="-228584" algn="l">
              <a:spcBef>
                <a:spcPts val="600"/>
              </a:spcBef>
              <a:buClrTx/>
              <a:buSzPct val="125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peaker’s Full Name</a:t>
            </a:r>
          </a:p>
          <a:p>
            <a:pPr lvl="1"/>
            <a:r>
              <a:rPr lang="en-US" dirty="0"/>
              <a:t>Speaker’s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D38650-2189-4A4F-AD30-9C41C4094C5F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685800" y="2744237"/>
            <a:ext cx="2286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6294701" y="384048"/>
            <a:ext cx="2385905" cy="512064"/>
          </a:xfrm>
          <a:prstGeom prst="rect">
            <a:avLst/>
          </a:prstGeom>
        </p:spPr>
      </p:pic>
      <p:pic>
        <p:nvPicPr>
          <p:cNvPr id="4" name="Picture 2" descr="Image result for bny logo"/>
          <p:cNvPicPr>
            <a:picLocks noChangeAspect="1" noChangeArrowheads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53110"/>
            <a:ext cx="1781663" cy="967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38435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E48B4-F4ED-4DA0-AE35-136D1133A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14" y="100456"/>
            <a:ext cx="8385048" cy="382502"/>
          </a:xfrm>
        </p:spPr>
        <p:txBody>
          <a:bodyPr>
            <a:normAutofit/>
          </a:bodyPr>
          <a:lstStyle>
            <a:lvl1pPr>
              <a:defRPr sz="195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49D8E0-67E3-4D7E-847C-95CFA1F84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379927" y="4719850"/>
            <a:ext cx="83841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A92D58F-27A5-440B-BDDC-757CC6F1E323}"/>
              </a:ext>
            </a:extLst>
          </p:cNvPr>
          <p:cNvCxnSpPr>
            <a:cxnSpLocks/>
          </p:cNvCxnSpPr>
          <p:nvPr userDrawn="1"/>
        </p:nvCxnSpPr>
        <p:spPr>
          <a:xfrm>
            <a:off x="291385" y="410257"/>
            <a:ext cx="83841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13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D512A5-02AD-4CE7-95D7-2098ED248C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5979"/>
            <a:ext cx="9133377" cy="51375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76864" y="2278785"/>
            <a:ext cx="3238136" cy="329184"/>
          </a:xfrm>
        </p:spPr>
        <p:txBody>
          <a:bodyPr anchor="b" anchorCtr="0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588156" y="-97227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chemeClr val="tx2"/>
              </a:solidFill>
              <a:latin typeface="Calibiri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FA5237-4D06-4CB8-B81D-E6E000044E96}"/>
              </a:ext>
            </a:extLst>
          </p:cNvPr>
          <p:cNvCxnSpPr>
            <a:cxnSpLocks/>
          </p:cNvCxnSpPr>
          <p:nvPr userDrawn="1"/>
        </p:nvCxnSpPr>
        <p:spPr>
          <a:xfrm>
            <a:off x="2509095" y="2680202"/>
            <a:ext cx="1858684" cy="0"/>
          </a:xfrm>
          <a:prstGeom prst="line">
            <a:avLst/>
          </a:prstGeom>
          <a:ln>
            <a:solidFill>
              <a:srgbClr val="00A4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4BBC5B1-60EC-4841-A052-A7EA104709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6294701" y="384048"/>
            <a:ext cx="2385905" cy="51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621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/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47FCECF-73EE-4938-97F6-6222F9DD4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784" y="1225298"/>
            <a:ext cx="6720840" cy="1719072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  <a:lvl2pPr marL="231756" indent="-231756">
              <a:buNone/>
              <a:defRPr sz="4400">
                <a:solidFill>
                  <a:schemeClr val="bg1"/>
                </a:solidFill>
              </a:defRPr>
            </a:lvl2pPr>
            <a:lvl3pPr marL="228582" indent="-228582">
              <a:buClrTx/>
              <a:buSzPct val="125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bg1"/>
                </a:solidFill>
                <a:latin typeface="Calibiri"/>
              </a:defRPr>
            </a:lvl4pPr>
            <a:lvl5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bg1"/>
                </a:solidFill>
                <a:latin typeface="Calibiri"/>
              </a:defRPr>
            </a:lvl5pPr>
            <a:lvl6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bg1"/>
                </a:solidFill>
                <a:latin typeface="+mn-lt"/>
              </a:defRPr>
            </a:lvl6pPr>
            <a:lvl7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bg1"/>
                </a:solidFill>
                <a:latin typeface="+mn-lt"/>
              </a:defRPr>
            </a:lvl7pPr>
            <a:lvl8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bg1"/>
                </a:solidFill>
                <a:latin typeface="+mn-lt"/>
              </a:defRPr>
            </a:lvl8pPr>
            <a:lvl9pPr marL="0" indent="0">
              <a:buClrTx/>
              <a:buFont typeface="Arial" panose="020B0604020202020204" pitchFamily="34" charset="0"/>
              <a:buNone/>
              <a:defRPr sz="1200" i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CB6D0-2A5A-4D58-8FE1-4A2994CDFC5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5486400" y="4800601"/>
            <a:ext cx="914400" cy="15544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iri"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15279A-CBE5-442B-9406-3D6FDD83D7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57784" y="4800601"/>
            <a:ext cx="4572000" cy="15544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iri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1F1E75-A9F9-49B6-874A-F457E114A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10896" y="4800601"/>
            <a:ext cx="228600" cy="1554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37EAAD-C2F6-40CC-8C2D-A4C3970B3E6F}"/>
              </a:ext>
            </a:extLst>
          </p:cNvPr>
          <p:cNvCxnSpPr>
            <a:cxnSpLocks/>
          </p:cNvCxnSpPr>
          <p:nvPr userDrawn="1"/>
        </p:nvCxnSpPr>
        <p:spPr>
          <a:xfrm>
            <a:off x="557784" y="1097280"/>
            <a:ext cx="672084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0A6E3-DE2F-40B3-955E-42C3550BD2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485913" y="4780026"/>
            <a:ext cx="1278164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263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2AB80A-78BA-6B42-BA0D-B44ACF890F5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364" y="247696"/>
            <a:ext cx="8464987" cy="45544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14859" y="994479"/>
            <a:ext cx="8460842" cy="328056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800">
                <a:solidFill>
                  <a:srgbClr val="141414"/>
                </a:solidFill>
              </a:defRPr>
            </a:lvl1pPr>
            <a:lvl2pPr marL="228594" indent="-227007">
              <a:buClr>
                <a:schemeClr val="accent2"/>
              </a:buClr>
              <a:buFont typeface="Arial"/>
              <a:buChar char="•"/>
              <a:defRPr sz="2400">
                <a:solidFill>
                  <a:srgbClr val="141414"/>
                </a:solidFill>
              </a:defRPr>
            </a:lvl2pPr>
            <a:lvl3pPr marL="287331" indent="-166684">
              <a:buClr>
                <a:schemeClr val="accent2"/>
              </a:buClr>
              <a:buFont typeface="Arial"/>
              <a:buChar char="•"/>
              <a:defRPr sz="2000">
                <a:solidFill>
                  <a:srgbClr val="141414"/>
                </a:solidFill>
              </a:defRPr>
            </a:lvl3pPr>
            <a:lvl4pPr marL="393690" indent="-176209">
              <a:buClr>
                <a:schemeClr val="accent2"/>
              </a:buClr>
              <a:buFont typeface="Arial"/>
              <a:buChar char="•"/>
              <a:defRPr sz="1800">
                <a:solidFill>
                  <a:srgbClr val="141414"/>
                </a:solidFill>
              </a:defRPr>
            </a:lvl4pPr>
            <a:lvl5pPr marL="512750" indent="-176209">
              <a:buClr>
                <a:schemeClr val="accent2"/>
              </a:buClr>
              <a:buFont typeface="Arial"/>
              <a:buChar char="•"/>
              <a:defRPr sz="1800">
                <a:solidFill>
                  <a:srgbClr val="141414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08217" y="238125"/>
            <a:ext cx="8363857" cy="0"/>
          </a:xfrm>
          <a:prstGeom prst="line">
            <a:avLst/>
          </a:prstGeom>
          <a:ln w="6350" cmpd="sng">
            <a:gradFill flip="none" rotWithShape="1">
              <a:gsLst>
                <a:gs pos="0">
                  <a:srgbClr val="0099FF"/>
                </a:gs>
                <a:gs pos="100000">
                  <a:srgbClr val="008000"/>
                </a:gs>
              </a:gsLst>
              <a:lin ang="0" scaled="1"/>
              <a:tileRect/>
            </a:gradFill>
            <a:beve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0043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image" Target="../media/image9.jpeg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274320"/>
            <a:ext cx="8378952" cy="6210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4048" y="1093304"/>
            <a:ext cx="8378952" cy="33793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8013F-8083-4869-B1B8-42E270F3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0386" y="4695411"/>
            <a:ext cx="4572000" cy="18724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750"/>
            </a:lvl2pPr>
            <a:lvl3pPr marL="0" indent="0">
              <a:defRPr sz="750"/>
            </a:lvl3pPr>
            <a:lvl4pPr marL="0" indent="0">
              <a:defRPr sz="750"/>
            </a:lvl4pPr>
            <a:lvl5pPr marL="0" indent="0">
              <a:defRPr sz="750"/>
            </a:lvl5pPr>
            <a:lvl6pPr marL="0" indent="0">
              <a:defRPr sz="750"/>
            </a:lvl6pPr>
            <a:lvl7pPr marL="0" indent="0">
              <a:defRPr sz="750"/>
            </a:lvl7pPr>
            <a:lvl8pPr marL="0" indent="0">
              <a:defRPr sz="750"/>
            </a:lvl8pPr>
            <a:lvl9pPr marL="0" indent="0">
              <a:defRPr sz="750"/>
            </a:lvl9pPr>
          </a:lstStyle>
          <a:p>
            <a:r>
              <a:rPr lang="en-US" dirty="0"/>
              <a:t>© 2020 Cogniza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5100" y="4759541"/>
            <a:ext cx="22860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5C5FF7-2DC4-5442-BB0D-C1FF3C41C2F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723969" y="4742066"/>
            <a:ext cx="1039031" cy="222997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7653336" y="4695411"/>
            <a:ext cx="0" cy="26965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BNY Mellon Logo PNG Transparent - PngPix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133" y="4711932"/>
            <a:ext cx="1246969" cy="26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0632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4005" r:id="rId2"/>
    <p:sldLayoutId id="2147484012" r:id="rId3"/>
    <p:sldLayoutId id="2147484016" r:id="rId4"/>
  </p:sldLayoutIdLst>
  <p:hf hdr="0" dt="0"/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8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1450" indent="-171450" algn="l" defTabSz="914378" rtl="0" eaLnBrk="1" latinLnBrk="0" hangingPunct="1">
        <a:lnSpc>
          <a:spcPct val="100000"/>
        </a:lnSpc>
        <a:spcBef>
          <a:spcPts val="600"/>
        </a:spcBef>
        <a:buClrTx/>
        <a:buSzPct val="125000"/>
        <a:buFont typeface="Arial" panose="020B0604020202020204" pitchFamily="34" charset="0"/>
        <a:buChar char="•"/>
        <a:tabLst/>
        <a:defRPr sz="140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00050" indent="-171450" algn="l" defTabSz="914378" rtl="0" eaLnBrk="1" latinLnBrk="0" hangingPunct="1">
        <a:lnSpc>
          <a:spcPct val="100000"/>
        </a:lnSpc>
        <a:spcBef>
          <a:spcPts val="400"/>
        </a:spcBef>
        <a:buClrTx/>
        <a:buSzPct val="100000"/>
        <a:buFont typeface="Arial" panose="020B0604020202020204" pitchFamily="34" charset="0"/>
        <a:buChar char="–"/>
        <a:tabLst/>
        <a:defRPr sz="120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73088" indent="-115888" algn="l" defTabSz="914378" rtl="0" eaLnBrk="1" latinLnBrk="0" hangingPunct="1">
        <a:lnSpc>
          <a:spcPct val="100000"/>
        </a:lnSpc>
        <a:spcBef>
          <a:spcPts val="400"/>
        </a:spcBef>
        <a:buClrTx/>
        <a:buSzPct val="100000"/>
        <a:buFont typeface="Arial" panose="020B0604020202020204" pitchFamily="34" charset="0"/>
        <a:buChar char="•"/>
        <a:tabLst/>
        <a:defRPr sz="105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58838" indent="-173038" algn="l" defTabSz="914378" rtl="0" eaLnBrk="1" latinLnBrk="0" hangingPunct="1">
        <a:lnSpc>
          <a:spcPct val="100000"/>
        </a:lnSpc>
        <a:spcBef>
          <a:spcPts val="400"/>
        </a:spcBef>
        <a:buClrTx/>
        <a:buSzPct val="100000"/>
        <a:buFont typeface="Arial" panose="020B0604020202020204" pitchFamily="34" charset="0"/>
        <a:buChar char="–"/>
        <a:tabLst/>
        <a:defRPr sz="900" kern="12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142972" indent="-228594" algn="l" defTabSz="914378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371566" indent="-228594" algn="l" defTabSz="914378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1600160" indent="-228594" algn="l" defTabSz="914378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1600" kern="1200">
          <a:solidFill>
            <a:schemeClr val="tx2"/>
          </a:solidFill>
          <a:latin typeface="+mn-lt"/>
          <a:ea typeface="+mn-ea"/>
          <a:cs typeface="+mn-cs"/>
        </a:defRPr>
      </a:lvl8pPr>
      <a:lvl9pPr marL="1600160" indent="-228594" algn="l" defTabSz="914378" rtl="0" eaLnBrk="1" latinLnBrk="0" hangingPunct="1">
        <a:lnSpc>
          <a:spcPct val="100000"/>
        </a:lnSpc>
        <a:spcBef>
          <a:spcPts val="400"/>
        </a:spcBef>
        <a:buClrTx/>
        <a:buSzPct val="90000"/>
        <a:buFont typeface="Courier New" panose="02070309020205020404" pitchFamily="49" charset="0"/>
        <a:buChar char="o"/>
        <a:defRPr sz="16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40">
          <p15:clr>
            <a:srgbClr val="F26B43"/>
          </p15:clr>
        </p15:guide>
        <p15:guide id="3" pos="5520">
          <p15:clr>
            <a:srgbClr val="F26B43"/>
          </p15:clr>
        </p15:guide>
        <p15:guide id="4" orient="horz" pos="2916">
          <p15:clr>
            <a:srgbClr val="F26B43"/>
          </p15:clr>
        </p15:guide>
        <p15:guide id="5" orient="horz" pos="56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9947BC-C135-4AF9-80CB-7EC49EFAF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" y="274320"/>
            <a:ext cx="8385048" cy="7955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C3981-E47F-4B94-A56D-1A8F4B3B3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4048" y="1261872"/>
            <a:ext cx="8385048" cy="33192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EC2F54-FE71-419F-B3E9-62861D2AA5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048" y="4800600"/>
            <a:ext cx="228600" cy="1554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accent6"/>
                </a:solidFill>
                <a:latin typeface="Calibiri"/>
              </a:defRPr>
            </a:lvl1pPr>
          </a:lstStyle>
          <a:p>
            <a:fld id="{2EFEF571-C9B4-4D92-A7F7-315B894862A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0FBDCD-BEEF-402D-8FD6-B67C618D658B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485916" y="4780026"/>
            <a:ext cx="1278163" cy="274320"/>
          </a:xfrm>
          <a:prstGeom prst="rect">
            <a:avLst/>
          </a:prstGeom>
        </p:spPr>
      </p:pic>
      <p:pic>
        <p:nvPicPr>
          <p:cNvPr id="8" name="Picture 2" descr="Image result for bny logo"/>
          <p:cNvPicPr>
            <a:picLocks noChangeAspect="1" noChangeArrowheads="1"/>
          </p:cNvPicPr>
          <p:nvPr userDrawn="1"/>
        </p:nvPicPr>
        <p:blipFill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3344" y="4692218"/>
            <a:ext cx="755599" cy="410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0132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  <p:sldLayoutId id="2147484038" r:id="rId18"/>
    <p:sldLayoutId id="2147484039" r:id="rId19"/>
    <p:sldLayoutId id="2147484040" r:id="rId20"/>
    <p:sldLayoutId id="2147484041" r:id="rId21"/>
    <p:sldLayoutId id="2147484042" r:id="rId22"/>
    <p:sldLayoutId id="2147484043" r:id="rId23"/>
    <p:sldLayoutId id="2147484044" r:id="rId24"/>
    <p:sldLayoutId id="2147484045" r:id="rId25"/>
  </p:sldLayoutIdLst>
  <p:hf hdr="0" ftr="0" dt="0"/>
  <p:txStyles>
    <p:titleStyle>
      <a:lvl1pPr algn="l" defTabSz="914333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Calibiri"/>
          <a:ea typeface="+mj-ea"/>
          <a:cs typeface="Calibri" panose="020F0502020204030204" pitchFamily="34" charset="0"/>
        </a:defRPr>
      </a:lvl1pPr>
    </p:titleStyle>
    <p:bodyStyle>
      <a:lvl1pPr marL="0" indent="0" algn="l" defTabSz="914333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Calibiri"/>
          <a:ea typeface="+mn-ea"/>
          <a:cs typeface="Calibri" panose="020F0502020204030204" pitchFamily="34" charset="0"/>
        </a:defRPr>
      </a:lvl1pPr>
      <a:lvl2pPr marL="228584" indent="-228584" algn="l" defTabSz="914333" rtl="0" eaLnBrk="1" latinLnBrk="0" hangingPunct="1">
        <a:lnSpc>
          <a:spcPct val="100000"/>
        </a:lnSpc>
        <a:spcBef>
          <a:spcPts val="600"/>
        </a:spcBef>
        <a:buClrTx/>
        <a:buSzPct val="125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Calibiri"/>
          <a:ea typeface="+mn-ea"/>
          <a:cs typeface="Calibri" panose="020F0502020204030204" pitchFamily="34" charset="0"/>
        </a:defRPr>
      </a:lvl2pPr>
      <a:lvl3pPr marL="457166" indent="-228584" algn="l" defTabSz="914333" rtl="0" eaLnBrk="1" latinLnBrk="0" hangingPunct="1">
        <a:lnSpc>
          <a:spcPct val="100000"/>
        </a:lnSpc>
        <a:spcBef>
          <a:spcPts val="400"/>
        </a:spcBef>
        <a:buClrTx/>
        <a:buSzPct val="100000"/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Calibiri"/>
          <a:ea typeface="+mn-ea"/>
          <a:cs typeface="Calibri" panose="020F0502020204030204" pitchFamily="34" charset="0"/>
        </a:defRPr>
      </a:lvl3pPr>
      <a:lvl4pPr marL="685749" indent="-228584" algn="l" defTabSz="914333" rtl="0" eaLnBrk="1" latinLnBrk="0" hangingPunct="1">
        <a:lnSpc>
          <a:spcPct val="100000"/>
        </a:lnSpc>
        <a:spcBef>
          <a:spcPts val="400"/>
        </a:spcBef>
        <a:buClrTx/>
        <a:buSzPct val="100000"/>
        <a:buFont typeface="Courier New" panose="02070309020205020404" pitchFamily="49" charset="0"/>
        <a:buChar char="o"/>
        <a:defRPr sz="1600" kern="1200">
          <a:solidFill>
            <a:schemeClr val="tx2"/>
          </a:solidFill>
          <a:latin typeface="Calibiri"/>
          <a:ea typeface="+mn-ea"/>
          <a:cs typeface="Calibri" panose="020F0502020204030204" pitchFamily="34" charset="0"/>
        </a:defRPr>
      </a:lvl4pPr>
      <a:lvl5pPr marL="914333" indent="-228584" algn="l" defTabSz="914333" rtl="0" eaLnBrk="1" latinLnBrk="0" hangingPunct="1">
        <a:lnSpc>
          <a:spcPct val="100000"/>
        </a:lnSpc>
        <a:spcBef>
          <a:spcPts val="400"/>
        </a:spcBef>
        <a:buClrTx/>
        <a:buSzPct val="100000"/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Calibiri"/>
          <a:ea typeface="+mn-ea"/>
          <a:cs typeface="Calibri" panose="020F0502020204030204" pitchFamily="34" charset="0"/>
        </a:defRPr>
      </a:lvl5pPr>
      <a:lvl6pPr marL="1142915" indent="-228584" algn="l" defTabSz="914333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371498" indent="-228584" algn="l" defTabSz="914333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SzPct val="90000"/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1600080" indent="-228584" algn="l" defTabSz="914333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SzPct val="90000"/>
        <a:buFont typeface="Courier New" panose="02070309020205020404" pitchFamily="49" charset="0"/>
        <a:buChar char="o"/>
        <a:defRPr sz="1600" kern="1200">
          <a:solidFill>
            <a:schemeClr val="tx2"/>
          </a:solidFill>
          <a:latin typeface="+mn-lt"/>
          <a:ea typeface="+mn-ea"/>
          <a:cs typeface="+mn-cs"/>
        </a:defRPr>
      </a:lvl8pPr>
      <a:lvl9pPr marL="1600080" indent="-228584" algn="l" defTabSz="914333" rtl="0" eaLnBrk="1" latinLnBrk="0" hangingPunct="1">
        <a:lnSpc>
          <a:spcPct val="100000"/>
        </a:lnSpc>
        <a:spcBef>
          <a:spcPts val="400"/>
        </a:spcBef>
        <a:buClrTx/>
        <a:buSzPct val="90000"/>
        <a:buFont typeface="Courier New" panose="02070309020205020404" pitchFamily="49" charset="0"/>
        <a:buChar char="o"/>
        <a:defRPr sz="16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20 Cogniza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FEF571-C9B4-4D92-A7F7-315B894862A8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 bwMode="auto">
          <a:xfrm>
            <a:off x="232546" y="341970"/>
            <a:ext cx="2570953" cy="3770419"/>
          </a:xfrm>
          <a:prstGeom prst="rect">
            <a:avLst/>
          </a:prstGeom>
          <a:solidFill>
            <a:schemeClr val="bg1">
              <a:lumMod val="95000"/>
            </a:schemeClr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en-US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3029519" y="341969"/>
            <a:ext cx="5712363" cy="43534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/>
          <a:lstStyle/>
          <a:p>
            <a:pPr algn="ctr" defTabSz="914378">
              <a:defRPr/>
            </a:pPr>
            <a:endParaRPr lang="en-US" sz="21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Box 183"/>
          <p:cNvSpPr txBox="1">
            <a:spLocks noChangeArrowheads="1"/>
          </p:cNvSpPr>
          <p:nvPr/>
        </p:nvSpPr>
        <p:spPr bwMode="auto">
          <a:xfrm>
            <a:off x="315814" y="2120475"/>
            <a:ext cx="2563790" cy="3027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38" tIns="34269" rIns="68538" bIns="34269" anchor="t" anchorCtr="0" upright="1">
            <a:noAutofit/>
          </a:bodyPr>
          <a:lstStyle/>
          <a:p>
            <a:endParaRPr lang="en-US" sz="1050" dirty="0">
              <a:solidFill>
                <a:schemeClr val="tx2"/>
              </a:solidFill>
            </a:endParaRPr>
          </a:p>
          <a:p>
            <a:endParaRPr lang="en-US" sz="1050" dirty="0">
              <a:solidFill>
                <a:schemeClr val="tx2"/>
              </a:solidFill>
            </a:endParaRPr>
          </a:p>
          <a:p>
            <a:r>
              <a:rPr lang="en-US" sz="1050" dirty="0">
                <a:solidFill>
                  <a:schemeClr val="tx2"/>
                </a:solidFill>
              </a:rPr>
              <a:t>Completed training based on technology such as Spring Boot ,Spring Cloud, Microservices , Core Java ,Java8 REST, </a:t>
            </a:r>
            <a:r>
              <a:rPr lang="en-US" sz="1050" dirty="0" err="1">
                <a:solidFill>
                  <a:schemeClr val="tx2"/>
                </a:solidFill>
              </a:rPr>
              <a:t>SQL,Jasper</a:t>
            </a:r>
            <a:r>
              <a:rPr lang="en-US" sz="1050" dirty="0">
                <a:solidFill>
                  <a:schemeClr val="tx2"/>
                </a:solidFill>
              </a:rPr>
              <a:t>.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076074" y="732881"/>
            <a:ext cx="5798273" cy="3177751"/>
          </a:xfrm>
          <a:prstGeom prst="rect">
            <a:avLst/>
          </a:prstGeom>
        </p:spPr>
        <p:txBody>
          <a:bodyPr wrap="square" lIns="68538" tIns="34269" rIns="68538" bIns="34269">
            <a:spAutoFit/>
          </a:bodyPr>
          <a:lstStyle/>
          <a:p>
            <a:pPr marL="129687" indent="-129687" defTabSz="685315">
              <a:buFont typeface="Wingdings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Programming Languages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: Java</a:t>
            </a:r>
          </a:p>
          <a:p>
            <a:pPr marL="129687" indent="-129687" defTabSz="685315">
              <a:buFont typeface="Wingdings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Technologies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: Micro-service, REST, Java8, JPA, Hibernate, Jasper</a:t>
            </a:r>
          </a:p>
          <a:p>
            <a:pPr marL="129687" indent="-129687" defTabSz="685315">
              <a:buFont typeface="Wingdings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Frameworks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: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Springboot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,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SpringCloud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 </a:t>
            </a:r>
          </a:p>
          <a:p>
            <a:pPr marL="129687" indent="-129687" defTabSz="685315">
              <a:buFont typeface="Wingdings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Web/Application Server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: Tomcat </a:t>
            </a:r>
          </a:p>
          <a:p>
            <a:pPr marL="129687" indent="-129687" defTabSz="685315">
              <a:buFont typeface="Wingdings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Operating System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: Windows, Linux </a:t>
            </a:r>
          </a:p>
          <a:p>
            <a:pPr marL="129687" indent="-129687" defTabSz="685315">
              <a:buFont typeface="Wingdings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Database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: MySQL </a:t>
            </a:r>
          </a:p>
          <a:p>
            <a:pPr marL="129687" indent="-129687" defTabSz="685315">
              <a:buFont typeface="Wingdings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Tools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: Eclipse/STS,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VSCode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,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Git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, Docker, Maven, Postman,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MySQLWorkBench</a:t>
            </a:r>
            <a:endParaRPr lang="en-US" sz="900" dirty="0">
              <a:solidFill>
                <a:srgbClr val="000000"/>
              </a:solidFill>
              <a:latin typeface="Arial" panose="020B0604020202020204" pitchFamily="34" charset="0"/>
              <a:ea typeface="Dotum" panose="020B0600000101010101" pitchFamily="34" charset="-127"/>
              <a:cs typeface="Arial" panose="020B0604020202020204" pitchFamily="34" charset="0"/>
            </a:endParaRPr>
          </a:p>
          <a:p>
            <a:pPr defTabSz="685315">
              <a:defRPr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     </a:t>
            </a:r>
          </a:p>
          <a:p>
            <a:pPr marL="171450" indent="-171450" defTabSz="685315">
              <a:buFont typeface="Arial" panose="020B0604020202020204" pitchFamily="34" charset="0"/>
              <a:buChar char="•"/>
              <a:defRPr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Project completed in training period-</a:t>
            </a:r>
          </a:p>
          <a:p>
            <a:pPr defTabSz="685315">
              <a:defRPr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    </a:t>
            </a:r>
          </a:p>
          <a:p>
            <a:pPr defTabSz="685315">
              <a:defRPr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     Product-Review Management System-</a:t>
            </a:r>
          </a:p>
          <a:p>
            <a:r>
              <a:rPr lang="en-US" sz="900" dirty="0"/>
              <a:t>     https://github.com/ojhasanchit0725/CTSProductReviewSys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</a:rPr>
              <a:t>Worked on Product- Review management system followed by spring-boot based micro-service architecture. </a:t>
            </a:r>
            <a:r>
              <a:rPr lang="en-US" sz="900" b="1" dirty="0">
                <a:solidFill>
                  <a:schemeClr val="tx2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      Bank Management System-</a:t>
            </a:r>
          </a:p>
          <a:p>
            <a:r>
              <a:rPr lang="en-US" sz="900" dirty="0"/>
              <a:t>     https://github.com/jayesh24/BMS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A bank application for customer where a customer can add ,view his/her account and invest in mutual fund.</a:t>
            </a:r>
          </a:p>
          <a:p>
            <a:r>
              <a:rPr lang="en-US" sz="9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    </a:t>
            </a:r>
            <a:r>
              <a:rPr lang="en-US" sz="900" b="1" dirty="0">
                <a:solidFill>
                  <a:schemeClr val="tx2">
                    <a:lumMod val="95000"/>
                    <a:lumOff val="5000"/>
                  </a:schemeClr>
                </a:solidFill>
              </a:rPr>
              <a:t> Stock-Market-</a:t>
            </a:r>
          </a:p>
          <a:p>
            <a:r>
              <a:rPr lang="en-US" sz="900" dirty="0"/>
              <a:t>     https://github.com/jayesh24/StockMarketFSEIIH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Worked on a Stock-Market based project enhancing all full-stack technologies.</a:t>
            </a:r>
            <a:endParaRPr lang="en-US" sz="900" dirty="0">
              <a:solidFill>
                <a:schemeClr val="tx2"/>
              </a:solidFill>
            </a:endParaRPr>
          </a:p>
          <a:p>
            <a:pPr defTabSz="685315">
              <a:defRPr/>
            </a:pPr>
            <a:endParaRPr lang="en-US" sz="900" dirty="0">
              <a:solidFill>
                <a:srgbClr val="000000"/>
              </a:solidFill>
              <a:latin typeface="Arial" panose="020B0604020202020204" pitchFamily="34" charset="0"/>
              <a:ea typeface="Dotum" panose="020B0600000101010101" pitchFamily="34" charset="-127"/>
              <a:cs typeface="Arial" panose="020B0604020202020204" pitchFamily="34" charset="0"/>
            </a:endParaRPr>
          </a:p>
          <a:p>
            <a:pPr marL="129687" indent="-129687" defTabSz="685315">
              <a:buFont typeface="Wingdings" pitchFamily="2" charset="2"/>
              <a:buChar char="§"/>
              <a:defRPr/>
            </a:pPr>
            <a:endParaRPr lang="en-US" sz="900" dirty="0">
              <a:solidFill>
                <a:srgbClr val="000000"/>
              </a:solidFill>
              <a:latin typeface="Arial" panose="020B0604020202020204" pitchFamily="34" charset="0"/>
              <a:ea typeface="Dotum" panose="020B0600000101010101" pitchFamily="34" charset="-127"/>
              <a:cs typeface="Arial" panose="020B0604020202020204" pitchFamily="34" charset="0"/>
            </a:endParaRPr>
          </a:p>
          <a:p>
            <a:pPr marL="129687" indent="-129687" defTabSz="685315">
              <a:buFont typeface="Wingdings" pitchFamily="2" charset="2"/>
              <a:buChar char="§"/>
              <a:defRPr/>
            </a:pPr>
            <a:endParaRPr lang="en-US" sz="900" dirty="0">
              <a:solidFill>
                <a:srgbClr val="000000"/>
              </a:solidFill>
              <a:latin typeface="Arial" panose="020B0604020202020204" pitchFamily="34" charset="0"/>
              <a:ea typeface="Dotum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385100" y="2088681"/>
            <a:ext cx="1772274" cy="276999"/>
          </a:xfrm>
          <a:prstGeom prst="roundRect">
            <a:avLst/>
          </a:prstGeom>
          <a:solidFill>
            <a:schemeClr val="tx1"/>
          </a:solidFill>
          <a:ln w="28575" cap="flat" cmpd="sng" algn="ctr">
            <a:noFill/>
            <a:prstDash val="solid"/>
          </a:ln>
          <a:effectLst/>
        </p:spPr>
        <p:txBody>
          <a:bodyPr lIns="68538" tIns="34269" rIns="68538" bIns="34269" rtlCol="0" anchor="ctr"/>
          <a:lstStyle/>
          <a:p>
            <a:pPr defTabSz="6853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kern="0" dirty="0">
                <a:solidFill>
                  <a:srgbClr val="FFFFFF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Profile Summary</a:t>
            </a:r>
          </a:p>
        </p:txBody>
      </p:sp>
      <p:sp>
        <p:nvSpPr>
          <p:cNvPr id="14" name="Round Same Side Corner Rectangle 13"/>
          <p:cNvSpPr/>
          <p:nvPr/>
        </p:nvSpPr>
        <p:spPr bwMode="auto">
          <a:xfrm>
            <a:off x="3029519" y="341970"/>
            <a:ext cx="2494339" cy="238340"/>
          </a:xfrm>
          <a:prstGeom prst="round2SameRect">
            <a:avLst>
              <a:gd name="adj1" fmla="val 0"/>
              <a:gd name="adj2" fmla="val 24091"/>
            </a:avLst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38" tIns="34269" rIns="68538" bIns="34269" numCol="1" rtlCol="0" anchor="ctr" anchorCtr="0" compatLnSpc="1">
            <a:prstTxWarp prst="textNoShape">
              <a:avLst/>
            </a:prstTxWarp>
          </a:bodyPr>
          <a:lstStyle/>
          <a:p>
            <a:pPr algn="ctr" defTabSz="6853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>
                <a:solidFill>
                  <a:sysClr val="window" lastClr="FFFFFF"/>
                </a:solidFill>
                <a:latin typeface="Arial" panose="020B0604020202020204" pitchFamily="34" charset="0"/>
                <a:ea typeface="Dotum" panose="020B0600000101010101" pitchFamily="34" charset="-127"/>
                <a:cs typeface="Arial" panose="020B0604020202020204" pitchFamily="34" charset="0"/>
              </a:rPr>
              <a:t>Core Competenci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9CDC4D-6C6D-44E5-800E-ED152B5DDF54}"/>
              </a:ext>
            </a:extLst>
          </p:cNvPr>
          <p:cNvSpPr txBox="1"/>
          <p:nvPr/>
        </p:nvSpPr>
        <p:spPr>
          <a:xfrm>
            <a:off x="1828800" y="838416"/>
            <a:ext cx="685800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b="1" dirty="0">
                <a:solidFill>
                  <a:schemeClr val="accent2"/>
                </a:solidFill>
              </a:rPr>
              <a:t>Jayesh  Sharma</a:t>
            </a:r>
          </a:p>
          <a:p>
            <a:pPr algn="l"/>
            <a:endParaRPr lang="en-US" sz="1200" b="1" dirty="0">
              <a:solidFill>
                <a:schemeClr val="accent2"/>
              </a:solidFill>
            </a:endParaRPr>
          </a:p>
          <a:p>
            <a:pPr algn="l"/>
            <a:r>
              <a:rPr lang="en-US" sz="1200" b="1" dirty="0">
                <a:solidFill>
                  <a:schemeClr val="accent2"/>
                </a:solidFill>
              </a:rPr>
              <a:t>844193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31" y="831920"/>
            <a:ext cx="841682" cy="1055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438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gnizantnewbrand">
  <a:themeElements>
    <a:clrScheme name="Cognizant Colors 2020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0063"/>
      </a:accent1>
      <a:accent2>
        <a:srgbClr val="0033A0"/>
      </a:accent2>
      <a:accent3>
        <a:srgbClr val="2C67FF"/>
      </a:accent3>
      <a:accent4>
        <a:srgbClr val="328DFF"/>
      </a:accent4>
      <a:accent5>
        <a:srgbClr val="404040"/>
      </a:accent5>
      <a:accent6>
        <a:srgbClr val="D9D9D9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nizantnewbrand" id="{34464321-73E4-410E-B743-CF8D3DC5F44C}" vid="{66CDC2FA-A042-42D3-A5C3-2B3348401B6A}"/>
    </a:ext>
  </a:extLst>
</a:theme>
</file>

<file path=ppt/theme/theme2.xml><?xml version="1.0" encoding="utf-8"?>
<a:theme xmlns:a="http://schemas.openxmlformats.org/drawingml/2006/main" name="Cognizant">
  <a:themeElements>
    <a:clrScheme name="Cognizant 180722">
      <a:dk1>
        <a:srgbClr val="0033A0"/>
      </a:dk1>
      <a:lt1>
        <a:srgbClr val="FFFFFF"/>
      </a:lt1>
      <a:dk2>
        <a:srgbClr val="000000"/>
      </a:dk2>
      <a:lt2>
        <a:srgbClr val="FFFFFF"/>
      </a:lt2>
      <a:accent1>
        <a:srgbClr val="0033B4"/>
      </a:accent1>
      <a:accent2>
        <a:srgbClr val="00195A"/>
      </a:accent2>
      <a:accent3>
        <a:srgbClr val="3871FF"/>
      </a:accent3>
      <a:accent4>
        <a:srgbClr val="7BA0FF"/>
      </a:accent4>
      <a:accent5>
        <a:srgbClr val="BDCFFF"/>
      </a:accent5>
      <a:accent6>
        <a:srgbClr val="00B140"/>
      </a:accent6>
      <a:hlink>
        <a:srgbClr val="0033B4"/>
      </a:hlink>
      <a:folHlink>
        <a:srgbClr val="7BA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g_PPT_16x9_v04-06" id="{07F9BE1E-0522-42D8-9333-DC19B728C440}" vid="{5949420C-BBAE-4883-A571-88D4306A1FA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F47419B5A80645937347D29DB86470" ma:contentTypeVersion="10" ma:contentTypeDescription="Create a new document." ma:contentTypeScope="" ma:versionID="ef1024b41c9b9d34f5a69df71d2ae60b">
  <xsd:schema xmlns:xsd="http://www.w3.org/2001/XMLSchema" xmlns:xs="http://www.w3.org/2001/XMLSchema" xmlns:p="http://schemas.microsoft.com/office/2006/metadata/properties" xmlns:ns3="9c4f8044-90a3-4ad9-aa54-fc4d0be3446d" xmlns:ns4="abfc6994-3e23-48bc-9a67-cc4423566493" targetNamespace="http://schemas.microsoft.com/office/2006/metadata/properties" ma:root="true" ma:fieldsID="1395293bac3d688bdf64f90864cd3aee" ns3:_="" ns4:_="">
    <xsd:import namespace="9c4f8044-90a3-4ad9-aa54-fc4d0be3446d"/>
    <xsd:import namespace="abfc6994-3e23-48bc-9a67-cc442356649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4f8044-90a3-4ad9-aa54-fc4d0be344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c6994-3e23-48bc-9a67-cc4423566493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557C7E4-AFD7-4041-BB38-23D0C4B714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4f8044-90a3-4ad9-aa54-fc4d0be3446d"/>
    <ds:schemaRef ds:uri="abfc6994-3e23-48bc-9a67-cc44235664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7256525-4F1A-4C8B-895E-C88BEDC3A7AF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9c4f8044-90a3-4ad9-aa54-fc4d0be3446d"/>
    <ds:schemaRef ds:uri="abfc6994-3e23-48bc-9a67-cc4423566493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878BD1E-FD8C-4983-9974-C66A0BB9A32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gnizant Experience - Captive Transition July2018 v1.4.pptx</Template>
  <TotalTime>33296</TotalTime>
  <Words>182</Words>
  <Application>Microsoft Office PowerPoint</Application>
  <PresentationFormat>On-screen Show (16:9)</PresentationFormat>
  <Paragraphs>2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iri</vt:lpstr>
      <vt:lpstr>Calibri</vt:lpstr>
      <vt:lpstr>Courier New</vt:lpstr>
      <vt:lpstr>Wingdings</vt:lpstr>
      <vt:lpstr>1_Cognizantnewbrand</vt:lpstr>
      <vt:lpstr>Cognizant</vt:lpstr>
      <vt:lpstr>think-cell Slide</vt:lpstr>
      <vt:lpstr>PowerPoint Presentation</vt:lpstr>
    </vt:vector>
  </TitlesOfParts>
  <Company>Cognizant Technology Solu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NY Mellon Account Overview</dc:title>
  <dc:creator>rahul.agrawal2@cognizant.com</dc:creator>
  <cp:lastModifiedBy>Sharma, Jayesh (Cognizant)</cp:lastModifiedBy>
  <cp:revision>2225</cp:revision>
  <cp:lastPrinted>2017-02-17T19:35:46Z</cp:lastPrinted>
  <dcterms:created xsi:type="dcterms:W3CDTF">2018-07-31T14:01:43Z</dcterms:created>
  <dcterms:modified xsi:type="dcterms:W3CDTF">2022-03-04T06:38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F47419B5A80645937347D29DB86470</vt:lpwstr>
  </property>
  <property fmtid="{D5CDD505-2E9C-101B-9397-08002B2CF9AE}" pid="3" name="MSIP_Label_5781dfe3-6600-4878-ab62-89c56005e52a_Enabled">
    <vt:lpwstr>true</vt:lpwstr>
  </property>
  <property fmtid="{D5CDD505-2E9C-101B-9397-08002B2CF9AE}" pid="4" name="MSIP_Label_5781dfe3-6600-4878-ab62-89c56005e52a_SetDate">
    <vt:lpwstr>2020-12-21T15:29:57Z</vt:lpwstr>
  </property>
  <property fmtid="{D5CDD505-2E9C-101B-9397-08002B2CF9AE}" pid="5" name="MSIP_Label_5781dfe3-6600-4878-ab62-89c56005e52a_Method">
    <vt:lpwstr>Privileged</vt:lpwstr>
  </property>
  <property fmtid="{D5CDD505-2E9C-101B-9397-08002B2CF9AE}" pid="6" name="MSIP_Label_5781dfe3-6600-4878-ab62-89c56005e52a_Name">
    <vt:lpwstr>Confidential</vt:lpwstr>
  </property>
  <property fmtid="{D5CDD505-2E9C-101B-9397-08002B2CF9AE}" pid="7" name="MSIP_Label_5781dfe3-6600-4878-ab62-89c56005e52a_SiteId">
    <vt:lpwstr>106bdeea-f616-4dfc-bc1d-6cbbf45e2011</vt:lpwstr>
  </property>
  <property fmtid="{D5CDD505-2E9C-101B-9397-08002B2CF9AE}" pid="8" name="MSIP_Label_5781dfe3-6600-4878-ab62-89c56005e52a_ActionId">
    <vt:lpwstr>e94fa6a4-d9ae-4622-943d-f95ed69c688d</vt:lpwstr>
  </property>
  <property fmtid="{D5CDD505-2E9C-101B-9397-08002B2CF9AE}" pid="9" name="MSIP_Label_5781dfe3-6600-4878-ab62-89c56005e52a_ContentBits">
    <vt:lpwstr>0</vt:lpwstr>
  </property>
</Properties>
</file>